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8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6" r:id="rId4"/>
    <p:sldMasterId id="2147483672" r:id="rId5"/>
    <p:sldMasterId id="2147483682" r:id="rId6"/>
    <p:sldMasterId id="2147483687" r:id="rId7"/>
    <p:sldMasterId id="2147483700" r:id="rId8"/>
    <p:sldMasterId id="2147483706" r:id="rId9"/>
    <p:sldMasterId id="2147483720" r:id="rId10"/>
    <p:sldMasterId id="2147483725" r:id="rId11"/>
  </p:sldMasterIdLst>
  <p:notesMasterIdLst>
    <p:notesMasterId r:id="rId13"/>
  </p:notesMasterIdLst>
  <p:handoutMasterIdLst>
    <p:handoutMasterId r:id="rId14"/>
  </p:handoutMasterIdLst>
  <p:sldIdLst>
    <p:sldId id="1510" r:id="rId12"/>
  </p:sldIdLst>
  <p:sldSz cx="9144000" cy="5143500" type="screen16x9"/>
  <p:notesSz cx="14355763" cy="9926638"/>
  <p:custDataLst>
    <p:tags r:id="rId15"/>
  </p:custDataLst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07ACB740-76C1-4CDA-8418-66AF3E0D2E12}">
          <p14:sldIdLst>
            <p14:sldId id="1510"/>
          </p14:sldIdLst>
        </p14:section>
        <p14:section name="Backups" id="{D810126B-E50F-454F-B287-B98F5DC8609F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597" userDrawn="1">
          <p15:clr>
            <a:srgbClr val="A4A3A4"/>
          </p15:clr>
        </p15:guide>
        <p15:guide id="2" pos="24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ierry Fraudet" initials="TF" lastIdx="5" clrIdx="0"/>
  <p:cmAuthor id="2" name="Lea" initials="L" lastIdx="1" clrIdx="1">
    <p:extLst>
      <p:ext uri="{19B8F6BF-5375-455C-9EA6-DF929625EA0E}">
        <p15:presenceInfo xmlns:p15="http://schemas.microsoft.com/office/powerpoint/2012/main" userId="Lea" providerId="None"/>
      </p:ext>
    </p:extLst>
  </p:cmAuthor>
  <p:cmAuthor id="3" name="NICOLAS CHEVALIER" initials="NC" lastIdx="1" clrIdx="2">
    <p:extLst>
      <p:ext uri="{19B8F6BF-5375-455C-9EA6-DF929625EA0E}">
        <p15:presenceInfo xmlns:p15="http://schemas.microsoft.com/office/powerpoint/2012/main" userId="0b620b125fcccd49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C9AC"/>
    <a:srgbClr val="95C11F"/>
    <a:srgbClr val="ADD8F1"/>
    <a:srgbClr val="F39200"/>
    <a:srgbClr val="5FBFBB"/>
    <a:srgbClr val="FFE48F"/>
    <a:srgbClr val="FFDB69"/>
    <a:srgbClr val="9BBB59"/>
    <a:srgbClr val="00CC9B"/>
    <a:srgbClr val="2750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1D6102C-1975-4047-BBA8-CD10687C7971}" v="5" dt="2020-10-20T16:30:05.17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019" autoAdjust="0"/>
    <p:restoredTop sz="79864" autoAdjust="0"/>
  </p:normalViewPr>
  <p:slideViewPr>
    <p:cSldViewPr snapToGrid="0">
      <p:cViewPr varScale="1">
        <p:scale>
          <a:sx n="119" d="100"/>
          <a:sy n="119" d="100"/>
        </p:scale>
        <p:origin x="1023" y="72"/>
      </p:cViewPr>
      <p:guideLst>
        <p:guide orient="horz" pos="1597"/>
        <p:guide pos="2426"/>
      </p:guideLst>
    </p:cSldViewPr>
  </p:slideViewPr>
  <p:outlineViewPr>
    <p:cViewPr>
      <p:scale>
        <a:sx n="33" d="100"/>
        <a:sy n="33" d="100"/>
      </p:scale>
      <p:origin x="0" y="80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9" d="100"/>
        <a:sy n="59" d="100"/>
      </p:scale>
      <p:origin x="0" y="0"/>
    </p:cViewPr>
  </p:sorterViewPr>
  <p:notesViewPr>
    <p:cSldViewPr snapToGrid="0" showGuides="1">
      <p:cViewPr varScale="1">
        <p:scale>
          <a:sx n="114" d="100"/>
          <a:sy n="114" d="100"/>
        </p:scale>
        <p:origin x="2376" y="45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813161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9BFAC1C7-9E5D-4441-A8DE-D4FA72AEF22D}" type="datetimeFigureOut">
              <a:rPr lang="fr-FR" smtClean="0"/>
              <a:t>20/10/2020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813161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3549939F-CAB9-FE40-8FD3-31C143F5FB1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042528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813161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6D15EC3C-BFA7-9E4C-BB13-BAA5658834CA}" type="datetimeFigureOut">
              <a:rPr lang="fr-FR" smtClean="0"/>
              <a:t>20/10/2020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68738" y="744538"/>
            <a:ext cx="6618287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8751" tIns="69376" rIns="138751" bIns="69376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97545" y="4715155"/>
            <a:ext cx="12648142" cy="3116537"/>
          </a:xfrm>
          <a:prstGeom prst="rect">
            <a:avLst/>
          </a:prstGeom>
        </p:spPr>
        <p:txBody>
          <a:bodyPr vert="horz" lIns="138751" tIns="69376" rIns="138751" bIns="69376" rtlCol="0"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813161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5DEDB5E3-C477-CC4C-8674-BAC7A0562584}" type="slidenum">
              <a:rPr lang="fr-FR" smtClean="0"/>
              <a:t>‹N°›</a:t>
            </a:fld>
            <a:endParaRPr lang="fr-FR"/>
          </a:p>
        </p:txBody>
      </p:sp>
      <p:pic>
        <p:nvPicPr>
          <p:cNvPr id="9" name="Graphique 8" descr="Cible">
            <a:extLst>
              <a:ext uri="{FF2B5EF4-FFF2-40B4-BE49-F238E27FC236}">
                <a16:creationId xmlns:a16="http://schemas.microsoft.com/office/drawing/2014/main" id="{D55A4087-F0C7-4BFF-885C-5D4194568E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8133806"/>
            <a:ext cx="1914102" cy="992664"/>
          </a:xfrm>
          <a:prstGeom prst="rect">
            <a:avLst/>
          </a:prstGeom>
        </p:spPr>
      </p:pic>
      <p:sp>
        <p:nvSpPr>
          <p:cNvPr id="10" name="Espace réservé des commentaires 4">
            <a:extLst>
              <a:ext uri="{FF2B5EF4-FFF2-40B4-BE49-F238E27FC236}">
                <a16:creationId xmlns:a16="http://schemas.microsoft.com/office/drawing/2014/main" id="{9EA060DA-AD3F-4E58-9E10-24B2ED513D81}"/>
              </a:ext>
            </a:extLst>
          </p:cNvPr>
          <p:cNvSpPr txBox="1">
            <a:spLocks/>
          </p:cNvSpPr>
          <p:nvPr/>
        </p:nvSpPr>
        <p:spPr>
          <a:xfrm>
            <a:off x="1996306" y="8002211"/>
            <a:ext cx="10796666" cy="1162421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56107043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/>
              <a:t>Importance to consider in a consolidated way features and enablers</a:t>
            </a:r>
            <a:endParaRPr lang="fr-FR" sz="1800" dirty="0"/>
          </a:p>
          <a:p>
            <a:r>
              <a:rPr lang="en-US" sz="1800" dirty="0"/>
              <a:t> </a:t>
            </a:r>
            <a:endParaRPr lang="fr-FR" sz="1800" dirty="0"/>
          </a:p>
          <a:p>
            <a:pPr lvl="0"/>
            <a:r>
              <a:rPr lang="en-US" sz="1800" dirty="0"/>
              <a:t>Consolidated backlog</a:t>
            </a:r>
            <a:endParaRPr lang="fr-FR" sz="1800" dirty="0"/>
          </a:p>
          <a:p>
            <a:r>
              <a:rPr lang="en-US" sz="1800" dirty="0"/>
              <a:t>Consolidated roadmap Just enough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EDB5E3-C477-CC4C-8674-BAC7A0562584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15022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graphicFrame>
        <p:nvGraphicFramePr>
          <p:cNvPr id="11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86247098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2" name="Picture 2" descr="C:\Users\F299251\Pictures\Nouveau Logo MICHELIN\Michelin_G_Stacked_WhiteBG_061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52385" y="222917"/>
            <a:ext cx="2021336" cy="1186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56321" y="4227180"/>
            <a:ext cx="1813463" cy="938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490725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81153" y="154662"/>
            <a:ext cx="2240866" cy="1178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85190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25964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CHAPITR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6" name="Image 5" descr="maincadr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3946" y="668868"/>
            <a:ext cx="3500054" cy="2042256"/>
          </a:xfrm>
          <a:prstGeom prst="rect">
            <a:avLst/>
          </a:prstGeom>
        </p:spPr>
      </p:pic>
      <p:pic>
        <p:nvPicPr>
          <p:cNvPr id="9" name="Image 8" descr="maincadr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370673"/>
            <a:ext cx="3386571" cy="2547558"/>
          </a:xfrm>
          <a:prstGeom prst="rect">
            <a:avLst/>
          </a:prstGeom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319704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 CHAPITR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69722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1980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14708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8631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85926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60513_mains_bibcoeur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514600" y="2037915"/>
            <a:ext cx="4114800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CHAPITRE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189314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1171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61270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20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756282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2E27339-EA36-444E-85CB-9D714C78FFAE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CC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9252" lvl="1"/>
            <a:endParaRPr lang="en-US" sz="1100" dirty="0">
              <a:latin typeface="Michelin Black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6334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0767536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72310" y="157119"/>
            <a:ext cx="2215108" cy="1300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1141" y="423189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322014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660053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Picture 2" descr="C:\Users\F299251\Pictures\Nouveau Logo MICHELIN\Michelin_G_Stacked_WhiteBG_061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94394" y="4046923"/>
            <a:ext cx="2021336" cy="1186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41144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267024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pic>
        <p:nvPicPr>
          <p:cNvPr id="6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07847" y="4038680"/>
            <a:ext cx="2049105" cy="120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18898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2604910" y="2267024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4382" y="469687"/>
            <a:ext cx="5539619" cy="3966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0470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00530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598402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68522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10699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61270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20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756282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maincadr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3946" y="668868"/>
            <a:ext cx="3500054" cy="2042256"/>
          </a:xfrm>
          <a:prstGeom prst="rect">
            <a:avLst/>
          </a:prstGeom>
        </p:spPr>
      </p:pic>
      <p:pic>
        <p:nvPicPr>
          <p:cNvPr id="3" name="Image 2" descr="maincadr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370673"/>
            <a:ext cx="3386571" cy="2547558"/>
          </a:xfrm>
          <a:prstGeom prst="rect">
            <a:avLst/>
          </a:prstGeom>
        </p:spPr>
      </p:pic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25964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10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55455220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3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07847" y="4038680"/>
            <a:ext cx="2049105" cy="120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2310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843148" y="655309"/>
            <a:ext cx="7965127" cy="4102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20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0" y="-892"/>
            <a:ext cx="760151" cy="2146991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80075" y="1330455"/>
            <a:ext cx="8443291" cy="3308219"/>
          </a:xfrm>
          <a:prstGeom prst="rect">
            <a:avLst/>
          </a:prstGeom>
        </p:spPr>
        <p:txBody>
          <a:bodyPr>
            <a:normAutofit/>
          </a:bodyPr>
          <a:lstStyle>
            <a:lvl1pPr marL="252413" indent="-252413">
              <a:buClr>
                <a:schemeClr val="bg2"/>
              </a:buClr>
              <a:buFontTx/>
              <a:buBlip>
                <a:blip r:embed="rId2"/>
              </a:buBlip>
              <a:defRPr sz="18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25475" indent="-266700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98525" indent="-273050">
              <a:buClr>
                <a:schemeClr val="accent2"/>
              </a:buClr>
              <a:buFont typeface="Arial" panose="020B0604020202020204" pitchFamily="34" charset="0"/>
              <a:buChar char="•"/>
              <a:defRPr sz="160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828000" y="72000"/>
            <a:ext cx="7983491" cy="56838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80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8140" y="4600563"/>
            <a:ext cx="1160047" cy="540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380075" y="4903559"/>
            <a:ext cx="536400" cy="183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60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N°›</a:t>
            </a:fld>
            <a:endParaRPr kumimoji="0" lang="en-US" sz="60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45030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6754514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84387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228980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843148" y="655309"/>
            <a:ext cx="7965127" cy="4102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20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0" y="-892"/>
            <a:ext cx="760151" cy="2146991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80075" y="1330455"/>
            <a:ext cx="8443291" cy="3308219"/>
          </a:xfrm>
          <a:prstGeom prst="rect">
            <a:avLst/>
          </a:prstGeom>
        </p:spPr>
        <p:txBody>
          <a:bodyPr>
            <a:normAutofit/>
          </a:bodyPr>
          <a:lstStyle>
            <a:lvl1pPr marL="252413" indent="-252413">
              <a:buClr>
                <a:schemeClr val="bg2"/>
              </a:buClr>
              <a:buFontTx/>
              <a:buBlip>
                <a:blip r:embed="rId2"/>
              </a:buBlip>
              <a:defRPr sz="18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25475" indent="-266700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98525" indent="-273050">
              <a:buClr>
                <a:schemeClr val="accent2"/>
              </a:buClr>
              <a:buFont typeface="Arial" panose="020B0604020202020204" pitchFamily="34" charset="0"/>
              <a:buChar char="•"/>
              <a:defRPr sz="160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828000" y="72000"/>
            <a:ext cx="7983491" cy="56838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80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8140" y="4600563"/>
            <a:ext cx="1160047" cy="540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380075" y="4903559"/>
            <a:ext cx="536400" cy="183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60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N°›</a:t>
            </a:fld>
            <a:endParaRPr kumimoji="0" lang="en-US" sz="60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59147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360391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38740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181154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388730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058385"/>
            <a:ext cx="3951112" cy="1120244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8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59366676"/>
              </p:ext>
            </p:extLst>
          </p:nvPr>
        </p:nvGraphicFramePr>
        <p:xfrm>
          <a:off x="-1" y="4970026"/>
          <a:ext cx="6604001" cy="180044"/>
        </p:xfrm>
        <a:graphic>
          <a:graphicData uri="http://schemas.openxmlformats.org/drawingml/2006/table">
            <a:tbl>
              <a:tblPr/>
              <a:tblGrid>
                <a:gridCol w="2469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74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809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6344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BFBFB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BFBFB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9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72310" y="157119"/>
            <a:ext cx="2215108" cy="1300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1141" y="423189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52139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1980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39445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09728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488116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8631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39445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09728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099617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60513_mains_bibcoeur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455331" y="1927844"/>
            <a:ext cx="4114800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6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254763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10363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228924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S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4891"/>
          </a:p>
        </p:txBody>
      </p:sp>
    </p:spTree>
    <p:extLst>
      <p:ext uri="{BB962C8B-B14F-4D97-AF65-F5344CB8AC3E}">
        <p14:creationId xmlns:p14="http://schemas.microsoft.com/office/powerpoint/2010/main" val="41402843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93675" y="4031358"/>
            <a:ext cx="1813463" cy="938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571287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18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9.xml"/><Relationship Id="rId9" Type="http://schemas.openxmlformats.org/officeDocument/2006/relationships/oleObject" Target="../embeddings/oleObject2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5.xml"/><Relationship Id="rId5" Type="http://schemas.openxmlformats.org/officeDocument/2006/relationships/vmlDrawing" Target="../drawings/vmlDrawing4.v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29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slideLayout" Target="../slideLayouts/slideLayout33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vmlDrawing" Target="../drawings/vmlDrawing8.v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34.xml"/><Relationship Id="rId9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slideLayout" Target="../slideLayouts/slideLayout37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vmlDrawing" Target="../drawings/vmlDrawing10.vml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547112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Diapositive think-cell" r:id="rId12" imgW="270" imgH="270" progId="TCLayout.ActiveDocument.1">
                  <p:embed/>
                </p:oleObj>
              </mc:Choice>
              <mc:Fallback>
                <p:oleObj name="Diapositive think-cell" r:id="rId12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41013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731" r:id="rId8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0586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5299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Diapositive think-cell" r:id="rId9" imgW="270" imgH="270" progId="TCLayout.ActiveDocument.1">
                  <p:embed/>
                </p:oleObj>
              </mc:Choice>
              <mc:Fallback>
                <p:oleObj name="Diapositive think-cell" r:id="rId9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572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732" r:id="rId4"/>
    <p:sldLayoutId id="2147483713" r:id="rId5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5174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97" r:id="rId2"/>
    <p:sldLayoutId id="2147483693" r:id="rId3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683539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Diapositive think-cell" r:id="rId7" imgW="270" imgH="270" progId="TCLayout.ActiveDocument.1">
                  <p:embed/>
                </p:oleObj>
              </mc:Choice>
              <mc:Fallback>
                <p:oleObj name="Diapositive think-cell" r:id="rId7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37524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373996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572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30847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77773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35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Rectangle 269"/>
          <p:cNvSpPr/>
          <p:nvPr/>
        </p:nvSpPr>
        <p:spPr>
          <a:xfrm rot="16200000">
            <a:off x="3181880" y="-3184713"/>
            <a:ext cx="1109324" cy="747308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7" name="Rectangle 56"/>
          <p:cNvSpPr/>
          <p:nvPr/>
        </p:nvSpPr>
        <p:spPr>
          <a:xfrm>
            <a:off x="7338369" y="1"/>
            <a:ext cx="1833758" cy="51435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3" name="ZoneTexte 162">
            <a:extLst>
              <a:ext uri="{FF2B5EF4-FFF2-40B4-BE49-F238E27FC236}">
                <a16:creationId xmlns:a16="http://schemas.microsoft.com/office/drawing/2014/main" id="{EC366583-0323-46D3-8BB4-3AB2189EFCC8}"/>
              </a:ext>
            </a:extLst>
          </p:cNvPr>
          <p:cNvSpPr txBox="1"/>
          <p:nvPr/>
        </p:nvSpPr>
        <p:spPr>
          <a:xfrm>
            <a:off x="7756308" y="1234775"/>
            <a:ext cx="1013418" cy="3416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3210641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 b="1" kern="0" dirty="0">
                <a:solidFill>
                  <a:srgbClr val="44546A"/>
                </a:solidFill>
                <a:latin typeface="Calibri"/>
              </a:rPr>
              <a:t>GLOBAL</a:t>
            </a:r>
          </a:p>
          <a:p>
            <a:pPr algn="ctr" defTabSz="3210641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 b="1" kern="0" dirty="0">
                <a:solidFill>
                  <a:srgbClr val="44546A"/>
                </a:solidFill>
                <a:latin typeface="Calibri"/>
              </a:rPr>
              <a:t>OBSOLESCENCE</a:t>
            </a:r>
          </a:p>
        </p:txBody>
      </p:sp>
      <p:sp>
        <p:nvSpPr>
          <p:cNvPr id="103" name="Freeform 7">
            <a:extLst>
              <a:ext uri="{FF2B5EF4-FFF2-40B4-BE49-F238E27FC236}">
                <a16:creationId xmlns:a16="http://schemas.microsoft.com/office/drawing/2014/main" id="{90D594CA-5706-47AF-9AE6-9EDB2C21742D}"/>
              </a:ext>
            </a:extLst>
          </p:cNvPr>
          <p:cNvSpPr>
            <a:spLocks noEditPoints="1"/>
          </p:cNvSpPr>
          <p:nvPr/>
        </p:nvSpPr>
        <p:spPr bwMode="auto">
          <a:xfrm>
            <a:off x="8101481" y="935962"/>
            <a:ext cx="254212" cy="263109"/>
          </a:xfrm>
          <a:custGeom>
            <a:avLst/>
            <a:gdLst>
              <a:gd name="T0" fmla="*/ 13 w 64"/>
              <a:gd name="T1" fmla="*/ 45 h 67"/>
              <a:gd name="T2" fmla="*/ 13 w 64"/>
              <a:gd name="T3" fmla="*/ 63 h 67"/>
              <a:gd name="T4" fmla="*/ 9 w 64"/>
              <a:gd name="T5" fmla="*/ 67 h 67"/>
              <a:gd name="T6" fmla="*/ 5 w 64"/>
              <a:gd name="T7" fmla="*/ 67 h 67"/>
              <a:gd name="T8" fmla="*/ 1 w 64"/>
              <a:gd name="T9" fmla="*/ 63 h 67"/>
              <a:gd name="T10" fmla="*/ 1 w 64"/>
              <a:gd name="T11" fmla="*/ 45 h 67"/>
              <a:gd name="T12" fmla="*/ 5 w 64"/>
              <a:gd name="T13" fmla="*/ 41 h 67"/>
              <a:gd name="T14" fmla="*/ 9 w 64"/>
              <a:gd name="T15" fmla="*/ 41 h 67"/>
              <a:gd name="T16" fmla="*/ 13 w 64"/>
              <a:gd name="T17" fmla="*/ 45 h 67"/>
              <a:gd name="T18" fmla="*/ 26 w 64"/>
              <a:gd name="T19" fmla="*/ 26 h 67"/>
              <a:gd name="T20" fmla="*/ 22 w 64"/>
              <a:gd name="T21" fmla="*/ 26 h 67"/>
              <a:gd name="T22" fmla="*/ 18 w 64"/>
              <a:gd name="T23" fmla="*/ 30 h 67"/>
              <a:gd name="T24" fmla="*/ 18 w 64"/>
              <a:gd name="T25" fmla="*/ 63 h 67"/>
              <a:gd name="T26" fmla="*/ 22 w 64"/>
              <a:gd name="T27" fmla="*/ 67 h 67"/>
              <a:gd name="T28" fmla="*/ 26 w 64"/>
              <a:gd name="T29" fmla="*/ 67 h 67"/>
              <a:gd name="T30" fmla="*/ 30 w 64"/>
              <a:gd name="T31" fmla="*/ 63 h 67"/>
              <a:gd name="T32" fmla="*/ 30 w 64"/>
              <a:gd name="T33" fmla="*/ 30 h 67"/>
              <a:gd name="T34" fmla="*/ 26 w 64"/>
              <a:gd name="T35" fmla="*/ 26 h 67"/>
              <a:gd name="T36" fmla="*/ 43 w 64"/>
              <a:gd name="T37" fmla="*/ 32 h 67"/>
              <a:gd name="T38" fmla="*/ 39 w 64"/>
              <a:gd name="T39" fmla="*/ 32 h 67"/>
              <a:gd name="T40" fmla="*/ 35 w 64"/>
              <a:gd name="T41" fmla="*/ 36 h 67"/>
              <a:gd name="T42" fmla="*/ 35 w 64"/>
              <a:gd name="T43" fmla="*/ 63 h 67"/>
              <a:gd name="T44" fmla="*/ 39 w 64"/>
              <a:gd name="T45" fmla="*/ 67 h 67"/>
              <a:gd name="T46" fmla="*/ 43 w 64"/>
              <a:gd name="T47" fmla="*/ 67 h 67"/>
              <a:gd name="T48" fmla="*/ 47 w 64"/>
              <a:gd name="T49" fmla="*/ 63 h 67"/>
              <a:gd name="T50" fmla="*/ 47 w 64"/>
              <a:gd name="T51" fmla="*/ 36 h 67"/>
              <a:gd name="T52" fmla="*/ 43 w 64"/>
              <a:gd name="T53" fmla="*/ 32 h 67"/>
              <a:gd name="T54" fmla="*/ 60 w 64"/>
              <a:gd name="T55" fmla="*/ 18 h 67"/>
              <a:gd name="T56" fmla="*/ 56 w 64"/>
              <a:gd name="T57" fmla="*/ 18 h 67"/>
              <a:gd name="T58" fmla="*/ 52 w 64"/>
              <a:gd name="T59" fmla="*/ 22 h 67"/>
              <a:gd name="T60" fmla="*/ 52 w 64"/>
              <a:gd name="T61" fmla="*/ 63 h 67"/>
              <a:gd name="T62" fmla="*/ 56 w 64"/>
              <a:gd name="T63" fmla="*/ 67 h 67"/>
              <a:gd name="T64" fmla="*/ 60 w 64"/>
              <a:gd name="T65" fmla="*/ 67 h 67"/>
              <a:gd name="T66" fmla="*/ 64 w 64"/>
              <a:gd name="T67" fmla="*/ 63 h 67"/>
              <a:gd name="T68" fmla="*/ 64 w 64"/>
              <a:gd name="T69" fmla="*/ 22 h 67"/>
              <a:gd name="T70" fmla="*/ 60 w 64"/>
              <a:gd name="T71" fmla="*/ 18 h 67"/>
              <a:gd name="T72" fmla="*/ 21 w 64"/>
              <a:gd name="T73" fmla="*/ 13 h 67"/>
              <a:gd name="T74" fmla="*/ 41 w 64"/>
              <a:gd name="T75" fmla="*/ 27 h 67"/>
              <a:gd name="T76" fmla="*/ 58 w 64"/>
              <a:gd name="T77" fmla="*/ 5 h 67"/>
              <a:gd name="T78" fmla="*/ 60 w 64"/>
              <a:gd name="T79" fmla="*/ 6 h 67"/>
              <a:gd name="T80" fmla="*/ 60 w 64"/>
              <a:gd name="T81" fmla="*/ 0 h 67"/>
              <a:gd name="T82" fmla="*/ 55 w 64"/>
              <a:gd name="T83" fmla="*/ 3 h 67"/>
              <a:gd name="T84" fmla="*/ 56 w 64"/>
              <a:gd name="T85" fmla="*/ 4 h 67"/>
              <a:gd name="T86" fmla="*/ 40 w 64"/>
              <a:gd name="T87" fmla="*/ 23 h 67"/>
              <a:gd name="T88" fmla="*/ 21 w 64"/>
              <a:gd name="T89" fmla="*/ 10 h 67"/>
              <a:gd name="T90" fmla="*/ 0 w 64"/>
              <a:gd name="T91" fmla="*/ 29 h 67"/>
              <a:gd name="T92" fmla="*/ 2 w 64"/>
              <a:gd name="T93" fmla="*/ 31 h 67"/>
              <a:gd name="T94" fmla="*/ 21 w 64"/>
              <a:gd name="T95" fmla="*/ 13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64" h="67">
                <a:moveTo>
                  <a:pt x="13" y="45"/>
                </a:moveTo>
                <a:cubicBezTo>
                  <a:pt x="13" y="63"/>
                  <a:pt x="13" y="63"/>
                  <a:pt x="13" y="63"/>
                </a:cubicBezTo>
                <a:cubicBezTo>
                  <a:pt x="13" y="65"/>
                  <a:pt x="11" y="67"/>
                  <a:pt x="9" y="67"/>
                </a:cubicBezTo>
                <a:cubicBezTo>
                  <a:pt x="5" y="67"/>
                  <a:pt x="5" y="67"/>
                  <a:pt x="5" y="67"/>
                </a:cubicBezTo>
                <a:cubicBezTo>
                  <a:pt x="3" y="67"/>
                  <a:pt x="1" y="65"/>
                  <a:pt x="1" y="63"/>
                </a:cubicBezTo>
                <a:cubicBezTo>
                  <a:pt x="1" y="45"/>
                  <a:pt x="1" y="45"/>
                  <a:pt x="1" y="45"/>
                </a:cubicBezTo>
                <a:cubicBezTo>
                  <a:pt x="1" y="43"/>
                  <a:pt x="3" y="41"/>
                  <a:pt x="5" y="41"/>
                </a:cubicBezTo>
                <a:cubicBezTo>
                  <a:pt x="9" y="41"/>
                  <a:pt x="9" y="41"/>
                  <a:pt x="9" y="41"/>
                </a:cubicBezTo>
                <a:cubicBezTo>
                  <a:pt x="11" y="41"/>
                  <a:pt x="13" y="43"/>
                  <a:pt x="13" y="45"/>
                </a:cubicBezTo>
                <a:close/>
                <a:moveTo>
                  <a:pt x="26" y="26"/>
                </a:moveTo>
                <a:cubicBezTo>
                  <a:pt x="22" y="26"/>
                  <a:pt x="22" y="26"/>
                  <a:pt x="22" y="26"/>
                </a:cubicBezTo>
                <a:cubicBezTo>
                  <a:pt x="20" y="26"/>
                  <a:pt x="18" y="28"/>
                  <a:pt x="18" y="30"/>
                </a:cubicBezTo>
                <a:cubicBezTo>
                  <a:pt x="18" y="63"/>
                  <a:pt x="18" y="63"/>
                  <a:pt x="18" y="63"/>
                </a:cubicBezTo>
                <a:cubicBezTo>
                  <a:pt x="18" y="65"/>
                  <a:pt x="20" y="67"/>
                  <a:pt x="22" y="67"/>
                </a:cubicBezTo>
                <a:cubicBezTo>
                  <a:pt x="26" y="67"/>
                  <a:pt x="26" y="67"/>
                  <a:pt x="26" y="67"/>
                </a:cubicBezTo>
                <a:cubicBezTo>
                  <a:pt x="28" y="67"/>
                  <a:pt x="30" y="65"/>
                  <a:pt x="30" y="63"/>
                </a:cubicBezTo>
                <a:cubicBezTo>
                  <a:pt x="30" y="30"/>
                  <a:pt x="30" y="30"/>
                  <a:pt x="30" y="30"/>
                </a:cubicBezTo>
                <a:cubicBezTo>
                  <a:pt x="30" y="28"/>
                  <a:pt x="28" y="26"/>
                  <a:pt x="26" y="26"/>
                </a:cubicBezTo>
                <a:close/>
                <a:moveTo>
                  <a:pt x="43" y="32"/>
                </a:moveTo>
                <a:cubicBezTo>
                  <a:pt x="39" y="32"/>
                  <a:pt x="39" y="32"/>
                  <a:pt x="39" y="32"/>
                </a:cubicBezTo>
                <a:cubicBezTo>
                  <a:pt x="37" y="32"/>
                  <a:pt x="35" y="34"/>
                  <a:pt x="35" y="36"/>
                </a:cubicBezTo>
                <a:cubicBezTo>
                  <a:pt x="35" y="63"/>
                  <a:pt x="35" y="63"/>
                  <a:pt x="35" y="63"/>
                </a:cubicBezTo>
                <a:cubicBezTo>
                  <a:pt x="35" y="65"/>
                  <a:pt x="37" y="67"/>
                  <a:pt x="39" y="67"/>
                </a:cubicBezTo>
                <a:cubicBezTo>
                  <a:pt x="43" y="67"/>
                  <a:pt x="43" y="67"/>
                  <a:pt x="43" y="67"/>
                </a:cubicBezTo>
                <a:cubicBezTo>
                  <a:pt x="45" y="67"/>
                  <a:pt x="47" y="65"/>
                  <a:pt x="47" y="63"/>
                </a:cubicBezTo>
                <a:cubicBezTo>
                  <a:pt x="47" y="36"/>
                  <a:pt x="47" y="36"/>
                  <a:pt x="47" y="36"/>
                </a:cubicBezTo>
                <a:cubicBezTo>
                  <a:pt x="47" y="34"/>
                  <a:pt x="45" y="32"/>
                  <a:pt x="43" y="32"/>
                </a:cubicBezTo>
                <a:close/>
                <a:moveTo>
                  <a:pt x="60" y="18"/>
                </a:moveTo>
                <a:cubicBezTo>
                  <a:pt x="56" y="18"/>
                  <a:pt x="56" y="18"/>
                  <a:pt x="56" y="18"/>
                </a:cubicBezTo>
                <a:cubicBezTo>
                  <a:pt x="54" y="18"/>
                  <a:pt x="52" y="20"/>
                  <a:pt x="52" y="22"/>
                </a:cubicBezTo>
                <a:cubicBezTo>
                  <a:pt x="52" y="63"/>
                  <a:pt x="52" y="63"/>
                  <a:pt x="52" y="63"/>
                </a:cubicBezTo>
                <a:cubicBezTo>
                  <a:pt x="52" y="65"/>
                  <a:pt x="54" y="67"/>
                  <a:pt x="56" y="67"/>
                </a:cubicBezTo>
                <a:cubicBezTo>
                  <a:pt x="60" y="67"/>
                  <a:pt x="60" y="67"/>
                  <a:pt x="60" y="67"/>
                </a:cubicBezTo>
                <a:cubicBezTo>
                  <a:pt x="62" y="67"/>
                  <a:pt x="64" y="65"/>
                  <a:pt x="64" y="63"/>
                </a:cubicBezTo>
                <a:cubicBezTo>
                  <a:pt x="64" y="22"/>
                  <a:pt x="64" y="22"/>
                  <a:pt x="64" y="22"/>
                </a:cubicBezTo>
                <a:cubicBezTo>
                  <a:pt x="64" y="20"/>
                  <a:pt x="62" y="18"/>
                  <a:pt x="60" y="18"/>
                </a:cubicBezTo>
                <a:close/>
                <a:moveTo>
                  <a:pt x="21" y="13"/>
                </a:moveTo>
                <a:cubicBezTo>
                  <a:pt x="41" y="27"/>
                  <a:pt x="41" y="27"/>
                  <a:pt x="41" y="27"/>
                </a:cubicBezTo>
                <a:cubicBezTo>
                  <a:pt x="58" y="5"/>
                  <a:pt x="58" y="5"/>
                  <a:pt x="58" y="5"/>
                </a:cubicBezTo>
                <a:cubicBezTo>
                  <a:pt x="60" y="6"/>
                  <a:pt x="60" y="6"/>
                  <a:pt x="60" y="6"/>
                </a:cubicBezTo>
                <a:cubicBezTo>
                  <a:pt x="60" y="0"/>
                  <a:pt x="60" y="0"/>
                  <a:pt x="60" y="0"/>
                </a:cubicBezTo>
                <a:cubicBezTo>
                  <a:pt x="55" y="3"/>
                  <a:pt x="55" y="3"/>
                  <a:pt x="55" y="3"/>
                </a:cubicBezTo>
                <a:cubicBezTo>
                  <a:pt x="56" y="4"/>
                  <a:pt x="56" y="4"/>
                  <a:pt x="56" y="4"/>
                </a:cubicBezTo>
                <a:cubicBezTo>
                  <a:pt x="40" y="23"/>
                  <a:pt x="40" y="23"/>
                  <a:pt x="40" y="23"/>
                </a:cubicBezTo>
                <a:cubicBezTo>
                  <a:pt x="21" y="10"/>
                  <a:pt x="21" y="10"/>
                  <a:pt x="21" y="10"/>
                </a:cubicBezTo>
                <a:cubicBezTo>
                  <a:pt x="0" y="29"/>
                  <a:pt x="0" y="29"/>
                  <a:pt x="0" y="29"/>
                </a:cubicBezTo>
                <a:cubicBezTo>
                  <a:pt x="2" y="31"/>
                  <a:pt x="2" y="31"/>
                  <a:pt x="2" y="31"/>
                </a:cubicBezTo>
                <a:lnTo>
                  <a:pt x="21" y="13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</p:spPr>
        <p:txBody>
          <a:bodyPr lIns="321064" tIns="160532" rIns="321064" bIns="160532"/>
          <a:lstStyle/>
          <a:p>
            <a:pPr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4930">
              <a:latin typeface="+mn-lt"/>
            </a:endParaRPr>
          </a:p>
        </p:txBody>
      </p:sp>
      <p:sp>
        <p:nvSpPr>
          <p:cNvPr id="104" name="ZoneTexte 103">
            <a:extLst>
              <a:ext uri="{FF2B5EF4-FFF2-40B4-BE49-F238E27FC236}">
                <a16:creationId xmlns:a16="http://schemas.microsoft.com/office/drawing/2014/main" id="{64E85830-C615-480C-9AE9-C1D2BD009BC9}"/>
              </a:ext>
            </a:extLst>
          </p:cNvPr>
          <p:cNvSpPr txBox="1"/>
          <p:nvPr/>
        </p:nvSpPr>
        <p:spPr>
          <a:xfrm>
            <a:off x="7898159" y="2354731"/>
            <a:ext cx="758542" cy="3416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3210641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 b="1" kern="0" dirty="0">
                <a:solidFill>
                  <a:srgbClr val="44546A"/>
                </a:solidFill>
                <a:latin typeface="Calibri"/>
              </a:rPr>
              <a:t>DECOM.</a:t>
            </a:r>
          </a:p>
          <a:p>
            <a:pPr algn="ctr" defTabSz="3210641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 b="1" kern="0" dirty="0">
                <a:solidFill>
                  <a:srgbClr val="44546A"/>
                </a:solidFill>
                <a:latin typeface="Calibri"/>
              </a:rPr>
              <a:t>ROADMAP</a:t>
            </a:r>
          </a:p>
        </p:txBody>
      </p:sp>
      <p:grpSp>
        <p:nvGrpSpPr>
          <p:cNvPr id="54" name="Groupe 53">
            <a:extLst>
              <a:ext uri="{FF2B5EF4-FFF2-40B4-BE49-F238E27FC236}">
                <a16:creationId xmlns:a16="http://schemas.microsoft.com/office/drawing/2014/main" id="{4586B48F-13A2-44E7-A107-2EB90DC90A96}"/>
              </a:ext>
            </a:extLst>
          </p:cNvPr>
          <p:cNvGrpSpPr/>
          <p:nvPr/>
        </p:nvGrpSpPr>
        <p:grpSpPr>
          <a:xfrm>
            <a:off x="8121849" y="2055919"/>
            <a:ext cx="254212" cy="263108"/>
            <a:chOff x="620046" y="4144586"/>
            <a:chExt cx="179230" cy="164594"/>
          </a:xfrm>
          <a:solidFill>
            <a:schemeClr val="accent3"/>
          </a:solidFill>
        </p:grpSpPr>
        <p:sp>
          <p:nvSpPr>
            <p:cNvPr id="55" name="Rectangle : coins arrondis 54">
              <a:extLst>
                <a:ext uri="{FF2B5EF4-FFF2-40B4-BE49-F238E27FC236}">
                  <a16:creationId xmlns:a16="http://schemas.microsoft.com/office/drawing/2014/main" id="{90870E6F-13A4-4157-B980-6630B1410020}"/>
                </a:ext>
              </a:extLst>
            </p:cNvPr>
            <p:cNvSpPr/>
            <p:nvPr/>
          </p:nvSpPr>
          <p:spPr>
            <a:xfrm>
              <a:off x="655539" y="4177146"/>
              <a:ext cx="143737" cy="132034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17643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2400"/>
            </a:p>
          </p:txBody>
        </p:sp>
        <p:sp>
          <p:nvSpPr>
            <p:cNvPr id="56" name="Rectangle : coins arrondis 55">
              <a:extLst>
                <a:ext uri="{FF2B5EF4-FFF2-40B4-BE49-F238E27FC236}">
                  <a16:creationId xmlns:a16="http://schemas.microsoft.com/office/drawing/2014/main" id="{84084C0D-7D58-4F43-84AF-FF27A5CED340}"/>
                </a:ext>
              </a:extLst>
            </p:cNvPr>
            <p:cNvSpPr/>
            <p:nvPr/>
          </p:nvSpPr>
          <p:spPr>
            <a:xfrm>
              <a:off x="620046" y="4144586"/>
              <a:ext cx="143738" cy="132033"/>
            </a:xfrm>
            <a:prstGeom prst="roundRect">
              <a:avLst/>
            </a:prstGeom>
            <a:solidFill>
              <a:srgbClr val="00B050"/>
            </a:solidFill>
            <a:ln w="127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176431" eaLnBrk="1" fontAlgn="auto" hangingPunct="1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ü"/>
                <a:defRPr/>
              </a:pPr>
              <a:r>
                <a:rPr lang="fr-FR" sz="1600" dirty="0">
                  <a:solidFill>
                    <a:schemeClr val="bg1"/>
                  </a:solidFill>
                </a:rPr>
                <a:t> </a:t>
              </a:r>
            </a:p>
          </p:txBody>
        </p:sp>
      </p:grpSp>
      <p:sp>
        <p:nvSpPr>
          <p:cNvPr id="105" name="ZoneTexte 104">
            <a:extLst>
              <a:ext uri="{FF2B5EF4-FFF2-40B4-BE49-F238E27FC236}">
                <a16:creationId xmlns:a16="http://schemas.microsoft.com/office/drawing/2014/main" id="{3B1D6963-E4F0-4DE7-B0A8-0EAC30AE96C9}"/>
              </a:ext>
            </a:extLst>
          </p:cNvPr>
          <p:cNvSpPr txBox="1"/>
          <p:nvPr/>
        </p:nvSpPr>
        <p:spPr>
          <a:xfrm>
            <a:off x="7898159" y="3333250"/>
            <a:ext cx="776175" cy="46474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3210641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 b="1" kern="0" dirty="0">
                <a:solidFill>
                  <a:srgbClr val="44546A"/>
                </a:solidFill>
                <a:latin typeface="Calibri"/>
              </a:rPr>
              <a:t>LOCAL</a:t>
            </a:r>
          </a:p>
          <a:p>
            <a:pPr algn="ctr" defTabSz="3210641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 b="1" kern="0" dirty="0">
                <a:solidFill>
                  <a:srgbClr val="44546A"/>
                </a:solidFill>
                <a:latin typeface="Calibri"/>
              </a:rPr>
              <a:t>TECHNICAL</a:t>
            </a:r>
          </a:p>
          <a:p>
            <a:pPr algn="ctr" defTabSz="3210641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00" b="1" kern="0" dirty="0">
                <a:solidFill>
                  <a:srgbClr val="44546A"/>
                </a:solidFill>
                <a:latin typeface="Calibri"/>
              </a:rPr>
              <a:t>DEBT</a:t>
            </a:r>
          </a:p>
        </p:txBody>
      </p:sp>
      <p:sp>
        <p:nvSpPr>
          <p:cNvPr id="106" name="Freeform 7">
            <a:extLst>
              <a:ext uri="{FF2B5EF4-FFF2-40B4-BE49-F238E27FC236}">
                <a16:creationId xmlns:a16="http://schemas.microsoft.com/office/drawing/2014/main" id="{3F0E0C90-8021-4D8E-8F83-77D33511F73D}"/>
              </a:ext>
            </a:extLst>
          </p:cNvPr>
          <p:cNvSpPr>
            <a:spLocks noEditPoints="1"/>
          </p:cNvSpPr>
          <p:nvPr/>
        </p:nvSpPr>
        <p:spPr bwMode="auto">
          <a:xfrm>
            <a:off x="8124709" y="3034437"/>
            <a:ext cx="254212" cy="263109"/>
          </a:xfrm>
          <a:custGeom>
            <a:avLst/>
            <a:gdLst>
              <a:gd name="T0" fmla="*/ 13 w 64"/>
              <a:gd name="T1" fmla="*/ 45 h 67"/>
              <a:gd name="T2" fmla="*/ 13 w 64"/>
              <a:gd name="T3" fmla="*/ 63 h 67"/>
              <a:gd name="T4" fmla="*/ 9 w 64"/>
              <a:gd name="T5" fmla="*/ 67 h 67"/>
              <a:gd name="T6" fmla="*/ 5 w 64"/>
              <a:gd name="T7" fmla="*/ 67 h 67"/>
              <a:gd name="T8" fmla="*/ 1 w 64"/>
              <a:gd name="T9" fmla="*/ 63 h 67"/>
              <a:gd name="T10" fmla="*/ 1 w 64"/>
              <a:gd name="T11" fmla="*/ 45 h 67"/>
              <a:gd name="T12" fmla="*/ 5 w 64"/>
              <a:gd name="T13" fmla="*/ 41 h 67"/>
              <a:gd name="T14" fmla="*/ 9 w 64"/>
              <a:gd name="T15" fmla="*/ 41 h 67"/>
              <a:gd name="T16" fmla="*/ 13 w 64"/>
              <a:gd name="T17" fmla="*/ 45 h 67"/>
              <a:gd name="T18" fmla="*/ 26 w 64"/>
              <a:gd name="T19" fmla="*/ 26 h 67"/>
              <a:gd name="T20" fmla="*/ 22 w 64"/>
              <a:gd name="T21" fmla="*/ 26 h 67"/>
              <a:gd name="T22" fmla="*/ 18 w 64"/>
              <a:gd name="T23" fmla="*/ 30 h 67"/>
              <a:gd name="T24" fmla="*/ 18 w 64"/>
              <a:gd name="T25" fmla="*/ 63 h 67"/>
              <a:gd name="T26" fmla="*/ 22 w 64"/>
              <a:gd name="T27" fmla="*/ 67 h 67"/>
              <a:gd name="T28" fmla="*/ 26 w 64"/>
              <a:gd name="T29" fmla="*/ 67 h 67"/>
              <a:gd name="T30" fmla="*/ 30 w 64"/>
              <a:gd name="T31" fmla="*/ 63 h 67"/>
              <a:gd name="T32" fmla="*/ 30 w 64"/>
              <a:gd name="T33" fmla="*/ 30 h 67"/>
              <a:gd name="T34" fmla="*/ 26 w 64"/>
              <a:gd name="T35" fmla="*/ 26 h 67"/>
              <a:gd name="T36" fmla="*/ 43 w 64"/>
              <a:gd name="T37" fmla="*/ 32 h 67"/>
              <a:gd name="T38" fmla="*/ 39 w 64"/>
              <a:gd name="T39" fmla="*/ 32 h 67"/>
              <a:gd name="T40" fmla="*/ 35 w 64"/>
              <a:gd name="T41" fmla="*/ 36 h 67"/>
              <a:gd name="T42" fmla="*/ 35 w 64"/>
              <a:gd name="T43" fmla="*/ 63 h 67"/>
              <a:gd name="T44" fmla="*/ 39 w 64"/>
              <a:gd name="T45" fmla="*/ 67 h 67"/>
              <a:gd name="T46" fmla="*/ 43 w 64"/>
              <a:gd name="T47" fmla="*/ 67 h 67"/>
              <a:gd name="T48" fmla="*/ 47 w 64"/>
              <a:gd name="T49" fmla="*/ 63 h 67"/>
              <a:gd name="T50" fmla="*/ 47 w 64"/>
              <a:gd name="T51" fmla="*/ 36 h 67"/>
              <a:gd name="T52" fmla="*/ 43 w 64"/>
              <a:gd name="T53" fmla="*/ 32 h 67"/>
              <a:gd name="T54" fmla="*/ 60 w 64"/>
              <a:gd name="T55" fmla="*/ 18 h 67"/>
              <a:gd name="T56" fmla="*/ 56 w 64"/>
              <a:gd name="T57" fmla="*/ 18 h 67"/>
              <a:gd name="T58" fmla="*/ 52 w 64"/>
              <a:gd name="T59" fmla="*/ 22 h 67"/>
              <a:gd name="T60" fmla="*/ 52 w 64"/>
              <a:gd name="T61" fmla="*/ 63 h 67"/>
              <a:gd name="T62" fmla="*/ 56 w 64"/>
              <a:gd name="T63" fmla="*/ 67 h 67"/>
              <a:gd name="T64" fmla="*/ 60 w 64"/>
              <a:gd name="T65" fmla="*/ 67 h 67"/>
              <a:gd name="T66" fmla="*/ 64 w 64"/>
              <a:gd name="T67" fmla="*/ 63 h 67"/>
              <a:gd name="T68" fmla="*/ 64 w 64"/>
              <a:gd name="T69" fmla="*/ 22 h 67"/>
              <a:gd name="T70" fmla="*/ 60 w 64"/>
              <a:gd name="T71" fmla="*/ 18 h 67"/>
              <a:gd name="T72" fmla="*/ 21 w 64"/>
              <a:gd name="T73" fmla="*/ 13 h 67"/>
              <a:gd name="T74" fmla="*/ 41 w 64"/>
              <a:gd name="T75" fmla="*/ 27 h 67"/>
              <a:gd name="T76" fmla="*/ 58 w 64"/>
              <a:gd name="T77" fmla="*/ 5 h 67"/>
              <a:gd name="T78" fmla="*/ 60 w 64"/>
              <a:gd name="T79" fmla="*/ 6 h 67"/>
              <a:gd name="T80" fmla="*/ 60 w 64"/>
              <a:gd name="T81" fmla="*/ 0 h 67"/>
              <a:gd name="T82" fmla="*/ 55 w 64"/>
              <a:gd name="T83" fmla="*/ 3 h 67"/>
              <a:gd name="T84" fmla="*/ 56 w 64"/>
              <a:gd name="T85" fmla="*/ 4 h 67"/>
              <a:gd name="T86" fmla="*/ 40 w 64"/>
              <a:gd name="T87" fmla="*/ 23 h 67"/>
              <a:gd name="T88" fmla="*/ 21 w 64"/>
              <a:gd name="T89" fmla="*/ 10 h 67"/>
              <a:gd name="T90" fmla="*/ 0 w 64"/>
              <a:gd name="T91" fmla="*/ 29 h 67"/>
              <a:gd name="T92" fmla="*/ 2 w 64"/>
              <a:gd name="T93" fmla="*/ 31 h 67"/>
              <a:gd name="T94" fmla="*/ 21 w 64"/>
              <a:gd name="T95" fmla="*/ 13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64" h="67">
                <a:moveTo>
                  <a:pt x="13" y="45"/>
                </a:moveTo>
                <a:cubicBezTo>
                  <a:pt x="13" y="63"/>
                  <a:pt x="13" y="63"/>
                  <a:pt x="13" y="63"/>
                </a:cubicBezTo>
                <a:cubicBezTo>
                  <a:pt x="13" y="65"/>
                  <a:pt x="11" y="67"/>
                  <a:pt x="9" y="67"/>
                </a:cubicBezTo>
                <a:cubicBezTo>
                  <a:pt x="5" y="67"/>
                  <a:pt x="5" y="67"/>
                  <a:pt x="5" y="67"/>
                </a:cubicBezTo>
                <a:cubicBezTo>
                  <a:pt x="3" y="67"/>
                  <a:pt x="1" y="65"/>
                  <a:pt x="1" y="63"/>
                </a:cubicBezTo>
                <a:cubicBezTo>
                  <a:pt x="1" y="45"/>
                  <a:pt x="1" y="45"/>
                  <a:pt x="1" y="45"/>
                </a:cubicBezTo>
                <a:cubicBezTo>
                  <a:pt x="1" y="43"/>
                  <a:pt x="3" y="41"/>
                  <a:pt x="5" y="41"/>
                </a:cubicBezTo>
                <a:cubicBezTo>
                  <a:pt x="9" y="41"/>
                  <a:pt x="9" y="41"/>
                  <a:pt x="9" y="41"/>
                </a:cubicBezTo>
                <a:cubicBezTo>
                  <a:pt x="11" y="41"/>
                  <a:pt x="13" y="43"/>
                  <a:pt x="13" y="45"/>
                </a:cubicBezTo>
                <a:close/>
                <a:moveTo>
                  <a:pt x="26" y="26"/>
                </a:moveTo>
                <a:cubicBezTo>
                  <a:pt x="22" y="26"/>
                  <a:pt x="22" y="26"/>
                  <a:pt x="22" y="26"/>
                </a:cubicBezTo>
                <a:cubicBezTo>
                  <a:pt x="20" y="26"/>
                  <a:pt x="18" y="28"/>
                  <a:pt x="18" y="30"/>
                </a:cubicBezTo>
                <a:cubicBezTo>
                  <a:pt x="18" y="63"/>
                  <a:pt x="18" y="63"/>
                  <a:pt x="18" y="63"/>
                </a:cubicBezTo>
                <a:cubicBezTo>
                  <a:pt x="18" y="65"/>
                  <a:pt x="20" y="67"/>
                  <a:pt x="22" y="67"/>
                </a:cubicBezTo>
                <a:cubicBezTo>
                  <a:pt x="26" y="67"/>
                  <a:pt x="26" y="67"/>
                  <a:pt x="26" y="67"/>
                </a:cubicBezTo>
                <a:cubicBezTo>
                  <a:pt x="28" y="67"/>
                  <a:pt x="30" y="65"/>
                  <a:pt x="30" y="63"/>
                </a:cubicBezTo>
                <a:cubicBezTo>
                  <a:pt x="30" y="30"/>
                  <a:pt x="30" y="30"/>
                  <a:pt x="30" y="30"/>
                </a:cubicBezTo>
                <a:cubicBezTo>
                  <a:pt x="30" y="28"/>
                  <a:pt x="28" y="26"/>
                  <a:pt x="26" y="26"/>
                </a:cubicBezTo>
                <a:close/>
                <a:moveTo>
                  <a:pt x="43" y="32"/>
                </a:moveTo>
                <a:cubicBezTo>
                  <a:pt x="39" y="32"/>
                  <a:pt x="39" y="32"/>
                  <a:pt x="39" y="32"/>
                </a:cubicBezTo>
                <a:cubicBezTo>
                  <a:pt x="37" y="32"/>
                  <a:pt x="35" y="34"/>
                  <a:pt x="35" y="36"/>
                </a:cubicBezTo>
                <a:cubicBezTo>
                  <a:pt x="35" y="63"/>
                  <a:pt x="35" y="63"/>
                  <a:pt x="35" y="63"/>
                </a:cubicBezTo>
                <a:cubicBezTo>
                  <a:pt x="35" y="65"/>
                  <a:pt x="37" y="67"/>
                  <a:pt x="39" y="67"/>
                </a:cubicBezTo>
                <a:cubicBezTo>
                  <a:pt x="43" y="67"/>
                  <a:pt x="43" y="67"/>
                  <a:pt x="43" y="67"/>
                </a:cubicBezTo>
                <a:cubicBezTo>
                  <a:pt x="45" y="67"/>
                  <a:pt x="47" y="65"/>
                  <a:pt x="47" y="63"/>
                </a:cubicBezTo>
                <a:cubicBezTo>
                  <a:pt x="47" y="36"/>
                  <a:pt x="47" y="36"/>
                  <a:pt x="47" y="36"/>
                </a:cubicBezTo>
                <a:cubicBezTo>
                  <a:pt x="47" y="34"/>
                  <a:pt x="45" y="32"/>
                  <a:pt x="43" y="32"/>
                </a:cubicBezTo>
                <a:close/>
                <a:moveTo>
                  <a:pt x="60" y="18"/>
                </a:moveTo>
                <a:cubicBezTo>
                  <a:pt x="56" y="18"/>
                  <a:pt x="56" y="18"/>
                  <a:pt x="56" y="18"/>
                </a:cubicBezTo>
                <a:cubicBezTo>
                  <a:pt x="54" y="18"/>
                  <a:pt x="52" y="20"/>
                  <a:pt x="52" y="22"/>
                </a:cubicBezTo>
                <a:cubicBezTo>
                  <a:pt x="52" y="63"/>
                  <a:pt x="52" y="63"/>
                  <a:pt x="52" y="63"/>
                </a:cubicBezTo>
                <a:cubicBezTo>
                  <a:pt x="52" y="65"/>
                  <a:pt x="54" y="67"/>
                  <a:pt x="56" y="67"/>
                </a:cubicBezTo>
                <a:cubicBezTo>
                  <a:pt x="60" y="67"/>
                  <a:pt x="60" y="67"/>
                  <a:pt x="60" y="67"/>
                </a:cubicBezTo>
                <a:cubicBezTo>
                  <a:pt x="62" y="67"/>
                  <a:pt x="64" y="65"/>
                  <a:pt x="64" y="63"/>
                </a:cubicBezTo>
                <a:cubicBezTo>
                  <a:pt x="64" y="22"/>
                  <a:pt x="64" y="22"/>
                  <a:pt x="64" y="22"/>
                </a:cubicBezTo>
                <a:cubicBezTo>
                  <a:pt x="64" y="20"/>
                  <a:pt x="62" y="18"/>
                  <a:pt x="60" y="18"/>
                </a:cubicBezTo>
                <a:close/>
                <a:moveTo>
                  <a:pt x="21" y="13"/>
                </a:moveTo>
                <a:cubicBezTo>
                  <a:pt x="41" y="27"/>
                  <a:pt x="41" y="27"/>
                  <a:pt x="41" y="27"/>
                </a:cubicBezTo>
                <a:cubicBezTo>
                  <a:pt x="58" y="5"/>
                  <a:pt x="58" y="5"/>
                  <a:pt x="58" y="5"/>
                </a:cubicBezTo>
                <a:cubicBezTo>
                  <a:pt x="60" y="6"/>
                  <a:pt x="60" y="6"/>
                  <a:pt x="60" y="6"/>
                </a:cubicBezTo>
                <a:cubicBezTo>
                  <a:pt x="60" y="0"/>
                  <a:pt x="60" y="0"/>
                  <a:pt x="60" y="0"/>
                </a:cubicBezTo>
                <a:cubicBezTo>
                  <a:pt x="55" y="3"/>
                  <a:pt x="55" y="3"/>
                  <a:pt x="55" y="3"/>
                </a:cubicBezTo>
                <a:cubicBezTo>
                  <a:pt x="56" y="4"/>
                  <a:pt x="56" y="4"/>
                  <a:pt x="56" y="4"/>
                </a:cubicBezTo>
                <a:cubicBezTo>
                  <a:pt x="40" y="23"/>
                  <a:pt x="40" y="23"/>
                  <a:pt x="40" y="23"/>
                </a:cubicBezTo>
                <a:cubicBezTo>
                  <a:pt x="21" y="10"/>
                  <a:pt x="21" y="10"/>
                  <a:pt x="21" y="10"/>
                </a:cubicBezTo>
                <a:cubicBezTo>
                  <a:pt x="0" y="29"/>
                  <a:pt x="0" y="29"/>
                  <a:pt x="0" y="29"/>
                </a:cubicBezTo>
                <a:cubicBezTo>
                  <a:pt x="2" y="31"/>
                  <a:pt x="2" y="31"/>
                  <a:pt x="2" y="31"/>
                </a:cubicBezTo>
                <a:lnTo>
                  <a:pt x="21" y="1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lIns="321064" tIns="160532" rIns="321064" bIns="160532"/>
          <a:lstStyle/>
          <a:p>
            <a:pPr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4930">
              <a:latin typeface="+mn-lt"/>
            </a:endParaRP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E0F1228B-56EF-4E0F-98B3-F4C53D0833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9008" y="338138"/>
            <a:ext cx="5856221" cy="4230660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D0E33526-1129-47AD-82EB-48354F3E62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42" y="-143228"/>
            <a:ext cx="1251096" cy="1644069"/>
          </a:xfrm>
          <a:prstGeom prst="rect">
            <a:avLst/>
          </a:prstGeom>
        </p:spPr>
      </p:pic>
      <p:pic>
        <p:nvPicPr>
          <p:cNvPr id="27" name="Image 26">
            <a:extLst>
              <a:ext uri="{FF2B5EF4-FFF2-40B4-BE49-F238E27FC236}">
                <a16:creationId xmlns:a16="http://schemas.microsoft.com/office/drawing/2014/main" id="{B4193BE0-918C-4B74-A4C7-AF0B61A4D8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410" y="4728411"/>
            <a:ext cx="1005458" cy="408005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15F050B9-1F21-4891-9088-8FB5B430F8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69726" y="4938374"/>
            <a:ext cx="457954" cy="20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2602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 1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HAPITR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FIN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1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2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3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4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B6676EFF43BD44A973BAF3C3F8897C" ma:contentTypeVersion="11" ma:contentTypeDescription="Crée un document." ma:contentTypeScope="" ma:versionID="16055b838173ea074c74866c85749e9f">
  <xsd:schema xmlns:xsd="http://www.w3.org/2001/XMLSchema" xmlns:xs="http://www.w3.org/2001/XMLSchema" xmlns:p="http://schemas.microsoft.com/office/2006/metadata/properties" xmlns:ns3="e2e26994-5e48-4994-8c16-0b6f61c4bc8a" xmlns:ns4="9f09b4db-7fdb-4a79-a1ce-e7e1d5ac2b17" targetNamespace="http://schemas.microsoft.com/office/2006/metadata/properties" ma:root="true" ma:fieldsID="7356ef530764415288c8753ef1e753cb" ns3:_="" ns4:_="">
    <xsd:import namespace="e2e26994-5e48-4994-8c16-0b6f61c4bc8a"/>
    <xsd:import namespace="9f09b4db-7fdb-4a79-a1ce-e7e1d5ac2b1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e26994-5e48-4994-8c16-0b6f61c4bc8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Partage du hachage d’indicateur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09b4db-7fdb-4a79-a1ce-e7e1d5ac2b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345BF31-44AE-4465-BECF-E43C8C381DB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FC97AAC-D16A-478F-95B1-E9944B8633B3}">
  <ds:schemaRefs>
    <ds:schemaRef ds:uri="http://purl.org/dc/elements/1.1/"/>
    <ds:schemaRef ds:uri="http://schemas.microsoft.com/office/infopath/2007/PartnerControls"/>
    <ds:schemaRef ds:uri="http://purl.org/dc/terms/"/>
    <ds:schemaRef ds:uri="e2e26994-5e48-4994-8c16-0b6f61c4bc8a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9f09b4db-7fdb-4a79-a1ce-e7e1d5ac2b17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98D1968-CD72-470A-AC74-47B0C75F576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2e26994-5e48-4994-8c16-0b6f61c4bc8a"/>
    <ds:schemaRef ds:uri="9f09b4db-7fdb-4a79-a1ce-e7e1d5ac2b1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7</Words>
  <Application>Microsoft Office PowerPoint</Application>
  <PresentationFormat>Affichage à l'écran (16:9)</PresentationFormat>
  <Paragraphs>13</Paragraphs>
  <Slides>1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8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19" baseType="lpstr">
      <vt:lpstr>Arial</vt:lpstr>
      <vt:lpstr>Calibri</vt:lpstr>
      <vt:lpstr>Lucida Grande</vt:lpstr>
      <vt:lpstr>Michelin</vt:lpstr>
      <vt:lpstr>Michelin Black</vt:lpstr>
      <vt:lpstr>Michelin SemiBold</vt:lpstr>
      <vt:lpstr>Rounded Elegance</vt:lpstr>
      <vt:lpstr>Wingdings</vt:lpstr>
      <vt:lpstr>Wingdings 3</vt:lpstr>
      <vt:lpstr>SLIDE 1</vt:lpstr>
      <vt:lpstr>CHAPITRE</vt:lpstr>
      <vt:lpstr>CONTENU</vt:lpstr>
      <vt:lpstr>FIN</vt:lpstr>
      <vt:lpstr>1_CONTENU</vt:lpstr>
      <vt:lpstr>2_CONTENU</vt:lpstr>
      <vt:lpstr>3_CONTENU</vt:lpstr>
      <vt:lpstr>4_CONTENU</vt:lpstr>
      <vt:lpstr>Diapositive think-cell</vt:lpstr>
      <vt:lpstr>Présentation PowerPoint</vt:lpstr>
    </vt:vector>
  </TitlesOfParts>
  <Company>GLUEND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ward a digital Information system EA Steering, March 22nd</dc:title>
  <dc:creator>Nicolas CHEVALIER</dc:creator>
  <cp:lastModifiedBy>nicolas chevalier</cp:lastModifiedBy>
  <cp:revision>572</cp:revision>
  <cp:lastPrinted>2020-01-14T15:27:55Z</cp:lastPrinted>
  <dcterms:modified xsi:type="dcterms:W3CDTF">2020-10-20T16:30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B6676EFF43BD44A973BAF3C3F8897C</vt:lpwstr>
  </property>
</Properties>
</file>